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6"/>
  </p:notesMasterIdLst>
  <p:sldIdLst>
    <p:sldId id="272" r:id="rId3"/>
    <p:sldId id="558" r:id="rId4"/>
    <p:sldId id="334" r:id="rId5"/>
    <p:sldId id="508" r:id="rId6"/>
    <p:sldId id="514" r:id="rId7"/>
    <p:sldId id="335" r:id="rId8"/>
    <p:sldId id="506" r:id="rId9"/>
    <p:sldId id="390" r:id="rId10"/>
    <p:sldId id="537" r:id="rId11"/>
    <p:sldId id="535" r:id="rId12"/>
    <p:sldId id="522" r:id="rId13"/>
    <p:sldId id="368" r:id="rId14"/>
    <p:sldId id="369" r:id="rId15"/>
    <p:sldId id="549" r:id="rId16"/>
    <p:sldId id="518" r:id="rId17"/>
    <p:sldId id="542" r:id="rId18"/>
    <p:sldId id="274" r:id="rId19"/>
    <p:sldId id="559" r:id="rId20"/>
    <p:sldId id="572" r:id="rId21"/>
    <p:sldId id="560" r:id="rId22"/>
    <p:sldId id="567" r:id="rId23"/>
    <p:sldId id="563" r:id="rId24"/>
    <p:sldId id="568" r:id="rId25"/>
    <p:sldId id="564" r:id="rId26"/>
    <p:sldId id="569" r:id="rId27"/>
    <p:sldId id="571" r:id="rId28"/>
    <p:sldId id="562" r:id="rId29"/>
    <p:sldId id="573" r:id="rId30"/>
    <p:sldId id="299" r:id="rId31"/>
    <p:sldId id="561" r:id="rId32"/>
    <p:sldId id="566" r:id="rId33"/>
    <p:sldId id="570" r:id="rId34"/>
    <p:sldId id="574" r:id="rId35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440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bov Khodyreva" initials="LK" lastIdx="1" clrIdx="0">
    <p:extLst>
      <p:ext uri="{19B8F6BF-5375-455C-9EA6-DF929625EA0E}">
        <p15:presenceInfo xmlns:p15="http://schemas.microsoft.com/office/powerpoint/2012/main" userId="5bff300d6380267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E9C8"/>
    <a:srgbClr val="FF3399"/>
    <a:srgbClr val="9D6393"/>
    <a:srgbClr val="626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18" autoAdjust="0"/>
    <p:restoredTop sz="88235" autoAdjust="0"/>
  </p:normalViewPr>
  <p:slideViewPr>
    <p:cSldViewPr snapToGrid="0">
      <p:cViewPr varScale="1">
        <p:scale>
          <a:sx n="101" d="100"/>
          <a:sy n="101" d="100"/>
        </p:scale>
        <p:origin x="1014" y="102"/>
      </p:cViewPr>
      <p:guideLst>
        <p:guide orient="horz" pos="2205"/>
        <p:guide pos="440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086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Укомплектованность кадрами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719626079348777E-2"/>
          <c:y val="0.14465327548342172"/>
          <c:w val="0.94348006770892767"/>
          <c:h val="0.7908387165889978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accent1">
                  <a:lumMod val="75000"/>
                </a:schemeClr>
              </a:solidFill>
              <a:round/>
            </a:ln>
            <a:effectLst/>
            <a:sp3d contourW="9525">
              <a:contourClr>
                <a:schemeClr val="accent1">
                  <a:lumMod val="75000"/>
                </a:schemeClr>
              </a:contourClr>
            </a:sp3d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DE4-4F3B-83A3-0DEEAA915573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DE4-4F3B-83A3-0DEEAA915573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DE4-4F3B-83A3-0DEEAA915573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DE4-4F3B-83A3-0DEEAA915573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DE4-4F3B-83A3-0DEEAA9155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Ставки по штату</c:v>
                </c:pt>
                <c:pt idx="1">
                  <c:v>Ставки занятые</c:v>
                </c:pt>
                <c:pt idx="2">
                  <c:v>Физ лица</c:v>
                </c:pt>
                <c:pt idx="3">
                  <c:v>Поликлиника</c:v>
                </c:pt>
                <c:pt idx="4">
                  <c:v>Стационар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36</c:v>
                </c:pt>
                <c:pt idx="1">
                  <c:v>528</c:v>
                </c:pt>
                <c:pt idx="2">
                  <c:v>553</c:v>
                </c:pt>
                <c:pt idx="3">
                  <c:v>287</c:v>
                </c:pt>
                <c:pt idx="4">
                  <c:v>2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60-44EA-BD99-33E2A5EBCD4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round/>
            </a:ln>
            <a:effectLst/>
            <a:sp3d contourW="9525">
              <a:contourClr>
                <a:schemeClr val="accent2">
                  <a:lumMod val="75000"/>
                </a:schemeClr>
              </a:contourClr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Ставки по штату</c:v>
                </c:pt>
                <c:pt idx="1">
                  <c:v>Ставки занятые</c:v>
                </c:pt>
                <c:pt idx="2">
                  <c:v>Физ лица</c:v>
                </c:pt>
                <c:pt idx="3">
                  <c:v>Поликлиника</c:v>
                </c:pt>
                <c:pt idx="4">
                  <c:v>Стационар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1-2A60-44EA-BD99-33E2A5EBCD4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>
                <a:alpha val="85000"/>
              </a:schemeClr>
            </a:solidFill>
            <a:ln w="9525" cap="flat" cmpd="sng" algn="ctr">
              <a:solidFill>
                <a:schemeClr val="accent3">
                  <a:lumMod val="75000"/>
                </a:schemeClr>
              </a:solidFill>
              <a:round/>
            </a:ln>
            <a:effectLst/>
            <a:sp3d contourW="9525">
              <a:contourClr>
                <a:schemeClr val="accent3">
                  <a:lumMod val="75000"/>
                </a:schemeClr>
              </a:contourClr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Ставки по штату</c:v>
                </c:pt>
                <c:pt idx="1">
                  <c:v>Ставки занятые</c:v>
                </c:pt>
                <c:pt idx="2">
                  <c:v>Физ лица</c:v>
                </c:pt>
                <c:pt idx="3">
                  <c:v>Поликлиника</c:v>
                </c:pt>
                <c:pt idx="4">
                  <c:v>Стационар</c:v>
                </c:pt>
              </c:strCache>
            </c:strRef>
          </c:cat>
          <c:val>
            <c:numRef>
              <c:f>Лист1!$D$2:$D$6</c:f>
            </c:numRef>
          </c:val>
          <c:extLst>
            <c:ext xmlns:c16="http://schemas.microsoft.com/office/drawing/2014/chart" uri="{C3380CC4-5D6E-409C-BE32-E72D297353CC}">
              <c16:uniqueId val="{00000002-2A60-44EA-BD99-33E2A5EBCD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shape val="box"/>
        <c:axId val="457521176"/>
        <c:axId val="457514944"/>
        <c:axId val="0"/>
      </c:bar3DChart>
      <c:catAx>
        <c:axId val="457521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57514944"/>
        <c:crosses val="autoZero"/>
        <c:auto val="1"/>
        <c:lblAlgn val="ctr"/>
        <c:lblOffset val="100"/>
        <c:noMultiLvlLbl val="0"/>
      </c:catAx>
      <c:valAx>
        <c:axId val="457514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57521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Всего биопсий простаты</a:t>
            </a:r>
          </a:p>
        </c:rich>
      </c:tx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биопсий простаты</c:v>
                </c:pt>
              </c:strCache>
            </c:strRef>
          </c:tx>
          <c:invertIfNegative val="0"/>
          <c:cat>
            <c:numRef>
              <c:f>Лист1!$A$2:$A$11</c:f>
              <c:numCache>
                <c:formatCode>General</c:formatCode>
                <c:ptCount val="10"/>
                <c:pt idx="0">
                  <c:v>2002</c:v>
                </c:pt>
                <c:pt idx="1">
                  <c:v>2004</c:v>
                </c:pt>
                <c:pt idx="2">
                  <c:v>2007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2165</c:v>
                </c:pt>
                <c:pt idx="1">
                  <c:v>6744</c:v>
                </c:pt>
                <c:pt idx="2">
                  <c:v>12219</c:v>
                </c:pt>
                <c:pt idx="3">
                  <c:v>12062</c:v>
                </c:pt>
                <c:pt idx="4">
                  <c:v>13567</c:v>
                </c:pt>
                <c:pt idx="5">
                  <c:v>15345</c:v>
                </c:pt>
                <c:pt idx="6">
                  <c:v>8887</c:v>
                </c:pt>
                <c:pt idx="7">
                  <c:v>6229</c:v>
                </c:pt>
                <c:pt idx="8">
                  <c:v>7263</c:v>
                </c:pt>
                <c:pt idx="9">
                  <c:v>7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D5-4326-A00A-E9591ED350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78652544"/>
        <c:axId val="78654080"/>
        <c:axId val="0"/>
      </c:bar3DChart>
      <c:catAx>
        <c:axId val="78652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78654080"/>
        <c:crosses val="autoZero"/>
        <c:auto val="1"/>
        <c:lblAlgn val="ctr"/>
        <c:lblOffset val="100"/>
        <c:noMultiLvlLbl val="0"/>
      </c:catAx>
      <c:valAx>
        <c:axId val="7865408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786525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08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9</c:v>
                </c:pt>
                <c:pt idx="1">
                  <c:v>876</c:v>
                </c:pt>
                <c:pt idx="2">
                  <c:v>2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94-4257-A90A-116564710E8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08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408</c:v>
                </c:pt>
                <c:pt idx="1">
                  <c:v>2688</c:v>
                </c:pt>
                <c:pt idx="2">
                  <c:v>23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94-4257-A90A-116564710E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8917304"/>
        <c:axId val="568912712"/>
      </c:barChart>
      <c:catAx>
        <c:axId val="568917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8912712"/>
        <c:crosses val="autoZero"/>
        <c:auto val="1"/>
        <c:lblAlgn val="ctr"/>
        <c:lblOffset val="100"/>
        <c:noMultiLvlLbl val="0"/>
      </c:catAx>
      <c:valAx>
        <c:axId val="568912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8917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25"/>
      <c:rotY val="3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7</c:v>
                </c:pt>
              </c:strCache>
            </c:strRef>
          </c:tx>
          <c:invertIfNegative val="0"/>
          <c:cat>
            <c:strRef>
              <c:f>Лист1!$A$2:$A$3</c:f>
              <c:strCache>
                <c:ptCount val="2"/>
                <c:pt idx="0">
                  <c:v>количество коек</c:v>
                </c:pt>
                <c:pt idx="1">
                  <c:v>оборот койк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2</c:v>
                </c:pt>
                <c:pt idx="1">
                  <c:v>6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F0-4003-979B-9EC589B30B5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8</c:v>
                </c:pt>
              </c:strCache>
            </c:strRef>
          </c:tx>
          <c:invertIfNegative val="0"/>
          <c:cat>
            <c:strRef>
              <c:f>Лист1!$A$2:$A$3</c:f>
              <c:strCache>
                <c:ptCount val="2"/>
                <c:pt idx="0">
                  <c:v>количество коек</c:v>
                </c:pt>
                <c:pt idx="1">
                  <c:v>оборот койки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57</c:v>
                </c:pt>
                <c:pt idx="1">
                  <c:v>65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F0-4003-979B-9EC589B30B5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19</c:v>
                </c:pt>
              </c:strCache>
            </c:strRef>
          </c:tx>
          <c:invertIfNegative val="0"/>
          <c:cat>
            <c:strRef>
              <c:f>Лист1!$A$2:$A$3</c:f>
              <c:strCache>
                <c:ptCount val="2"/>
                <c:pt idx="0">
                  <c:v>количество коек</c:v>
                </c:pt>
                <c:pt idx="1">
                  <c:v>оборот койки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128</c:v>
                </c:pt>
                <c:pt idx="1">
                  <c:v>6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BD-4276-A7BA-6B52ACE62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17848320"/>
        <c:axId val="117850112"/>
        <c:axId val="0"/>
      </c:bar3DChart>
      <c:catAx>
        <c:axId val="1178483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17850112"/>
        <c:crosses val="autoZero"/>
        <c:auto val="1"/>
        <c:lblAlgn val="ctr"/>
        <c:lblOffset val="100"/>
        <c:noMultiLvlLbl val="0"/>
      </c:catAx>
      <c:valAx>
        <c:axId val="1178501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7848320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overlay val="0"/>
      <c:txPr>
        <a:bodyPr/>
        <a:lstStyle/>
        <a:p>
          <a:pPr rtl="0">
            <a:defRPr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sp3d/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/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745</cdr:x>
      <cdr:y>0.31282</cdr:y>
    </cdr:from>
    <cdr:to>
      <cdr:x>0.89755</cdr:x>
      <cdr:y>0.4215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A2DE9DD8-52D7-4546-BFB3-E2EE5C86CEAF}"/>
            </a:ext>
          </a:extLst>
        </cdr:cNvPr>
        <cdr:cNvSpPr txBox="1"/>
      </cdr:nvSpPr>
      <cdr:spPr>
        <a:xfrm xmlns:a="http://schemas.openxmlformats.org/drawingml/2006/main">
          <a:off x="5024811" y="1151289"/>
          <a:ext cx="776213" cy="40011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2000" b="1" dirty="0"/>
            <a:t>4 746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AE05F-58D8-4499-8F51-3DD62D9DDB2C}" type="datetimeFigureOut">
              <a:rPr lang="ru-RU" smtClean="0"/>
              <a:t>22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9A750-B987-4723-84C9-C24DF58509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2085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9A750-B987-4723-84C9-C24DF58509C5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5782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9A750-B987-4723-84C9-C24DF58509C5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9328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9A750-B987-4723-84C9-C24DF58509C5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6371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5616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32095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5885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9378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7672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9164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819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5729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7676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0525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081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5973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255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9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9426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7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2323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988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5605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7932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0817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81269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0554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4223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86B44-80E7-4F7E-A438-98D24AC82E39}" type="datetimeFigureOut">
              <a:rPr lang="ru-RU" smtClean="0"/>
              <a:pPr/>
              <a:t>22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FA7DE-C054-415F-8BE9-6720DF397D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136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86B44-80E7-4F7E-A438-98D24AC82E3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FA7DE-C054-415F-8BE9-6720DF397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046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roou-congress.ru/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8258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ЗДРАВООХРАНЕНИЯ ГОРОДА МОСКВЫ</a:t>
            </a:r>
            <a:b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ИОЗММ</a:t>
            </a:r>
            <a:b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199" y="1992429"/>
            <a:ext cx="10347543" cy="138753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3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спективный план - отчет работы ОМО по урологии</a:t>
            </a:r>
          </a:p>
          <a:p>
            <a:pPr marL="0" indent="0" algn="ctr">
              <a:buNone/>
            </a:pP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236143" y="6256420"/>
            <a:ext cx="15881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сква, 2020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52499" y="3914775"/>
            <a:ext cx="96393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лавный внештатный специалист –уролог</a:t>
            </a:r>
          </a:p>
          <a:p>
            <a:pPr algn="ctr"/>
            <a:r>
              <a:rPr lang="ru-RU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адемик РАН, профессор, д.м.н. </a:t>
            </a:r>
            <a:r>
              <a:rPr lang="ru-RU" sz="28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.Ю.Пушкарь</a:t>
            </a:r>
            <a:endParaRPr lang="ru-RU" sz="28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5723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2D64157-8D15-475C-9D99-5E45DACCA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5115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ука-практика-управленческие решения</a:t>
            </a:r>
            <a:b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EC32AA4-36C8-43BF-9E63-DB9B42B73B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41328" y="2304789"/>
            <a:ext cx="10264036" cy="4409161"/>
          </a:xfrm>
        </p:spPr>
        <p:txBody>
          <a:bodyPr>
            <a:normAutofit fontScale="850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алгоритм обследования и лечения больных с недержанием мочи и пролапсом гениталий у женщин. Опубликованы МР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ы четкие показания для применения синтетических протезов для лечения недержания мочи и пролапса гениталий в рамках консилиумов урологов и гинекологов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год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руется формирование реестра экспертных урологических и гинекологических центров, которые имеют достаточное количество пациентов (не менее 100 операций с применением влагалищных синтетических протезов в год) и высококвалифицированного персонала для выполнения этих вмешательств</a:t>
            </a:r>
          </a:p>
          <a:p>
            <a:pPr>
              <a:buFont typeface="Wingdings" panose="05000000000000000000" pitchFamily="2" charset="2"/>
              <a:buChar char="Ø"/>
            </a:pPr>
            <a:endParaRPr lang="ru-RU" sz="32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810281-6E80-4D96-9231-DA9D9B1D1308}"/>
              </a:ext>
            </a:extLst>
          </p:cNvPr>
          <p:cNvSpPr txBox="1"/>
          <p:nvPr/>
        </p:nvSpPr>
        <p:spPr>
          <a:xfrm>
            <a:off x="2104373" y="1608463"/>
            <a:ext cx="8379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енское здоровье- управленческие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34417602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45D575F-145F-4095-9206-92DFBA78B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 лазерных технологий в  урологии</a:t>
            </a:r>
            <a:b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им.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.Д.Плетнева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ЗМ»</a:t>
            </a:r>
            <a:b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Объект 9">
            <a:extLst>
              <a:ext uri="{FF2B5EF4-FFF2-40B4-BE49-F238E27FC236}">
                <a16:creationId xmlns:a16="http://schemas.microsoft.com/office/drawing/2014/main" id="{E070F2E9-53B0-43EA-A8AD-7134E8F1EE4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89088001"/>
              </p:ext>
            </p:extLst>
          </p:nvPr>
        </p:nvGraphicFramePr>
        <p:xfrm>
          <a:off x="539827" y="1421177"/>
          <a:ext cx="6847293" cy="3161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7D7B9158-917C-403D-A3C7-22364D6C74AA}"/>
              </a:ext>
            </a:extLst>
          </p:cNvPr>
          <p:cNvCxnSpPr>
            <a:cxnSpLocks/>
          </p:cNvCxnSpPr>
          <p:nvPr/>
        </p:nvCxnSpPr>
        <p:spPr>
          <a:xfrm flipV="1">
            <a:off x="1718631" y="2018952"/>
            <a:ext cx="4839128" cy="158222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F00FBF33-8C95-4DCF-A9DE-68D3B802A202}"/>
              </a:ext>
            </a:extLst>
          </p:cNvPr>
          <p:cNvSpPr txBox="1"/>
          <p:nvPr/>
        </p:nvSpPr>
        <p:spPr>
          <a:xfrm>
            <a:off x="2024009" y="3801437"/>
            <a:ext cx="1150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2.49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5A7BA4-BBD0-4E16-9CE1-5F810A1B282F}"/>
              </a:ext>
            </a:extLst>
          </p:cNvPr>
          <p:cNvSpPr txBox="1"/>
          <p:nvPr/>
        </p:nvSpPr>
        <p:spPr>
          <a:xfrm flipH="1">
            <a:off x="3986372" y="3801437"/>
            <a:ext cx="776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3 56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731CBC-D7E4-46D4-BAF3-3AC9185743D9}"/>
              </a:ext>
            </a:extLst>
          </p:cNvPr>
          <p:cNvSpPr txBox="1"/>
          <p:nvPr/>
        </p:nvSpPr>
        <p:spPr>
          <a:xfrm>
            <a:off x="7089169" y="1575412"/>
            <a:ext cx="483912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о применений лазерных технологий за последние десять лет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илось в 15 раз</a:t>
            </a:r>
          </a:p>
          <a:p>
            <a:endParaRPr lang="ru-RU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 их доля в общем количестве оперативных вмешательств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росла  с 4 до 51%</a:t>
            </a:r>
          </a:p>
          <a:p>
            <a:endParaRPr lang="ru-RU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9 году </a:t>
            </a:r>
          </a:p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е половины </a:t>
            </a:r>
          </a:p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еративных вмешательств происходило с применением лазерных технологий </a:t>
            </a:r>
          </a:p>
          <a:p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EE1F34-1758-401E-82B9-FABB5BC8CF2A}"/>
              </a:ext>
            </a:extLst>
          </p:cNvPr>
          <p:cNvSpPr txBox="1"/>
          <p:nvPr/>
        </p:nvSpPr>
        <p:spPr>
          <a:xfrm>
            <a:off x="838201" y="5042998"/>
            <a:ext cx="108286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год - Формирование Центров по оказанию экстренной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дрологической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мощи на базе ГБУЗ «ГКБ им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И.Спасокукоцкого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 ГКБ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.Д.Плетнева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ДЗМ»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1A905E-458C-4DE3-A1FA-60B4FCF59E52}"/>
              </a:ext>
            </a:extLst>
          </p:cNvPr>
          <p:cNvSpPr txBox="1"/>
          <p:nvPr/>
        </p:nvSpPr>
        <p:spPr>
          <a:xfrm>
            <a:off x="838200" y="6061898"/>
            <a:ext cx="110900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г формирование отделений экстренной урологии на базе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коропомощных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центров в ГБУЗ «ГКБ им Вересаева ДЗМ», ГБУЗ «ГКБ им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.Боткина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ЗМ», …….</a:t>
            </a:r>
          </a:p>
        </p:txBody>
      </p:sp>
    </p:spTree>
    <p:extLst>
      <p:ext uri="{BB962C8B-B14F-4D97-AF65-F5344CB8AC3E}">
        <p14:creationId xmlns:p14="http://schemas.microsoft.com/office/powerpoint/2010/main" val="14440249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88321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ированная  урологическая бригада СМП</a:t>
            </a:r>
            <a:b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dirty="0">
              <a:solidFill>
                <a:srgbClr val="FF0000"/>
              </a:solidFill>
            </a:endParaRPr>
          </a:p>
        </p:txBody>
      </p:sp>
      <p:pic>
        <p:nvPicPr>
          <p:cNvPr id="16386" name="Picture 2" descr="C:\Users\Пользователь\Desktop\ДОКЛАДЫ\ДОКЛАД-ОТЧЕТ НИИ ОЗММ Февраль 2017г\смп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4434698"/>
            <a:ext cx="3420718" cy="1908519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163514" y="1253447"/>
            <a:ext cx="1021304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solidFill>
                <a:prstClr val="black"/>
              </a:solidFill>
            </a:endParaRPr>
          </a:p>
          <a:p>
            <a:r>
              <a:rPr lang="ru-RU" b="1" dirty="0">
                <a:solidFill>
                  <a:srgbClr val="5B9BD5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 Департамента здравоохранения г. Москвы от 20.01.2016 №22 (ред. от 24.06.2016)</a:t>
            </a:r>
            <a:br>
              <a:rPr lang="ru-RU" dirty="0">
                <a:solidFill>
                  <a:srgbClr val="5B9BD5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rgbClr val="5B9BD5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 организации оказания специализированной выездной службы скорой медицинской помощи: нейрохирургической, сосудистой, урологической, офтальмологической, кардиологической детям, анестезиологии-реанимации новорожденным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163514" y="2744571"/>
            <a:ext cx="1034599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ми функциями урологической бригады СМП являются оказание экстренной консультативной скорой медицинской помощи как дистанционно, так и с выездом в медицинские организации, на место нахождения пациента с подозрением на наличие острой урологической патологии, при необходимости проведение оперативных вмешательств урологического профиля, осуществление медицинской эвакуации по показаниям и иные функции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D41041-2DFD-4943-8037-4CACE1C86352}"/>
              </a:ext>
            </a:extLst>
          </p:cNvPr>
          <p:cNvSpPr txBox="1"/>
          <p:nvPr/>
        </p:nvSpPr>
        <p:spPr>
          <a:xfrm>
            <a:off x="6096000" y="4583017"/>
            <a:ext cx="55532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 2019г – Две специализированные бригады СМП обслуживают Москву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22EFD8-04A8-41A2-970C-7BBEAEE5E47B}"/>
              </a:ext>
            </a:extLst>
          </p:cNvPr>
          <p:cNvSpPr txBox="1"/>
          <p:nvPr/>
        </p:nvSpPr>
        <p:spPr>
          <a:xfrm>
            <a:off x="4825388" y="5604553"/>
            <a:ext cx="709613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днесуточная нагрузка на урологическую бригаду СМП</a:t>
            </a:r>
          </a:p>
          <a:p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возросла почти в 2 раза, количество вызовов –увеличилось </a:t>
            </a:r>
          </a:p>
          <a:p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4 848 до 8 147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54639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199" y="143838"/>
            <a:ext cx="11236287" cy="719192"/>
          </a:xfrm>
        </p:spPr>
        <p:txBody>
          <a:bodyPr>
            <a:normAutofit fontScale="90000"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ы кратковременного пребывания –Управленческие решения</a:t>
            </a:r>
          </a:p>
        </p:txBody>
      </p:sp>
      <p:pic>
        <p:nvPicPr>
          <p:cNvPr id="14338" name="Picture 2" descr="C:\Users\Пользователь\Desktop\ДОКЛАДЫ\Доклад Порядки\скп 2016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89807" y="1851994"/>
            <a:ext cx="4263714" cy="2615543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9" name="Picture 3" descr="C:\Users\Пользователь\Desktop\ДОКЛАДЫ\Доклад Порядки\СКП сентябрь 2017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524359" y="1886135"/>
            <a:ext cx="4209803" cy="2547260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C:\Users\Пользователь\Desktop\ДОКЛАДЫ\Доклад Порядки\СКП январь 2017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437631" y="3155091"/>
            <a:ext cx="4209805" cy="25472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683335" y="5167901"/>
            <a:ext cx="45086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-Пилотному проекту</a:t>
            </a:r>
          </a:p>
        </p:txBody>
      </p:sp>
    </p:spTree>
    <p:extLst>
      <p:ext uri="{BB962C8B-B14F-4D97-AF65-F5344CB8AC3E}">
        <p14:creationId xmlns:p14="http://schemas.microsoft.com/office/powerpoint/2010/main" val="4488383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F9610B-8FB8-4825-ACB4-591E8611C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83174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 кратковременного пребывания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B4673E85-3156-4596-92A7-2958B34BF801}"/>
              </a:ext>
            </a:extLst>
          </p:cNvPr>
          <p:cNvSpPr/>
          <p:nvPr/>
        </p:nvSpPr>
        <p:spPr>
          <a:xfrm>
            <a:off x="7911597" y="1294700"/>
            <a:ext cx="2685143" cy="1277957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 СКП</a:t>
            </a:r>
          </a:p>
        </p:txBody>
      </p:sp>
      <p:sp>
        <p:nvSpPr>
          <p:cNvPr id="7" name="Стрелка: вниз 6">
            <a:extLst>
              <a:ext uri="{FF2B5EF4-FFF2-40B4-BE49-F238E27FC236}">
                <a16:creationId xmlns:a16="http://schemas.microsoft.com/office/drawing/2014/main" id="{31D9B0D6-5847-4B9D-994A-820A30EFC47B}"/>
              </a:ext>
            </a:extLst>
          </p:cNvPr>
          <p:cNvSpPr/>
          <p:nvPr/>
        </p:nvSpPr>
        <p:spPr>
          <a:xfrm>
            <a:off x="9158043" y="2839707"/>
            <a:ext cx="313981" cy="837282"/>
          </a:xfrm>
          <a:prstGeom prst="downArrow">
            <a:avLst/>
          </a:prstGeom>
          <a:solidFill>
            <a:srgbClr val="FF0000"/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54091E6A-550F-4CDE-AD0E-C9B21778031C}"/>
              </a:ext>
            </a:extLst>
          </p:cNvPr>
          <p:cNvSpPr/>
          <p:nvPr/>
        </p:nvSpPr>
        <p:spPr>
          <a:xfrm>
            <a:off x="7393672" y="3944039"/>
            <a:ext cx="4156703" cy="1200839"/>
          </a:xfrm>
          <a:prstGeom prst="ellipse">
            <a:avLst/>
          </a:prstGeom>
          <a:solidFill>
            <a:schemeClr val="bg1"/>
          </a:solidFill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 </a:t>
            </a:r>
            <a:r>
              <a:rPr lang="ru-RU" sz="2800" b="1" dirty="0">
                <a:solidFill>
                  <a:srgbClr val="FF0000"/>
                </a:solidFill>
              </a:rPr>
              <a:t>7013-операций</a:t>
            </a: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id="{2BEE360B-55DD-4AD7-A490-5715E2A00D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9803155"/>
              </p:ext>
            </p:extLst>
          </p:nvPr>
        </p:nvGraphicFramePr>
        <p:xfrm>
          <a:off x="595086" y="986150"/>
          <a:ext cx="6230958" cy="5542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4114">
                  <a:extLst>
                    <a:ext uri="{9D8B030D-6E8A-4147-A177-3AD203B41FA5}">
                      <a16:colId xmlns:a16="http://schemas.microsoft.com/office/drawing/2014/main" val="3335684795"/>
                    </a:ext>
                  </a:extLst>
                </a:gridCol>
                <a:gridCol w="1480457">
                  <a:extLst>
                    <a:ext uri="{9D8B030D-6E8A-4147-A177-3AD203B41FA5}">
                      <a16:colId xmlns:a16="http://schemas.microsoft.com/office/drawing/2014/main" val="1358532066"/>
                    </a:ext>
                  </a:extLst>
                </a:gridCol>
                <a:gridCol w="1586387">
                  <a:extLst>
                    <a:ext uri="{9D8B030D-6E8A-4147-A177-3AD203B41FA5}">
                      <a16:colId xmlns:a16="http://schemas.microsoft.com/office/drawing/2014/main" val="2481548232"/>
                    </a:ext>
                  </a:extLst>
                </a:gridCol>
              </a:tblGrid>
              <a:tr h="385652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Медицинские организац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Год открыт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Кол-во пролеченных</a:t>
                      </a:r>
                    </a:p>
                    <a:p>
                      <a:r>
                        <a:rPr lang="ru-RU" dirty="0">
                          <a:solidFill>
                            <a:srgbClr val="002060"/>
                          </a:solidFill>
                        </a:rPr>
                        <a:t>пациент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940494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r>
                        <a:rPr lang="ru-RU" dirty="0"/>
                        <a:t>ГКБ </a:t>
                      </a:r>
                      <a:r>
                        <a:rPr lang="en-US" dirty="0"/>
                        <a:t> </a:t>
                      </a:r>
                      <a:r>
                        <a:rPr lang="ru-RU" dirty="0"/>
                        <a:t>им </a:t>
                      </a:r>
                      <a:r>
                        <a:rPr lang="ru-RU" dirty="0" err="1"/>
                        <a:t>С.П.Спасокукоцкого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2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542085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ГКБ им. С.П. Боткина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3771" marR="63771" marT="0" marB="0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53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2926951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ГКБ им. Н.И. Пирогова №1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3771" marR="63771" marT="0" marB="0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58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5318592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ГКБ им Д.Д. Плетнева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3771" marR="63771" marT="0" marB="0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7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0389374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ГКБ им. М.П. </a:t>
                      </a:r>
                      <a:r>
                        <a:rPr lang="ru-RU" sz="1800" dirty="0" err="1">
                          <a:effectLst/>
                        </a:rPr>
                        <a:t>Кончаловского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3771" marR="63771" marT="0" marB="0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22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7392559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ГКБ им. В.М. </a:t>
                      </a:r>
                      <a:r>
                        <a:rPr lang="ru-RU" sz="1800" dirty="0" err="1">
                          <a:effectLst/>
                        </a:rPr>
                        <a:t>Буянова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3771" marR="63771" marT="0" marB="0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32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0656242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ГКБ № 31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3771" marR="63771" marT="0" marB="0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15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050757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ГКБ № 29 им. Н.Э. Баумана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3771" marR="63771" marT="0" marB="0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5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6932860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r>
                        <a:rPr lang="ru-RU" dirty="0"/>
                        <a:t>ГКБ им </a:t>
                      </a:r>
                      <a:r>
                        <a:rPr lang="ru-RU" dirty="0" err="1"/>
                        <a:t>С.С.Юдин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98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984714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r>
                        <a:rPr lang="ru-RU" dirty="0"/>
                        <a:t>ГКБ им </a:t>
                      </a:r>
                      <a:r>
                        <a:rPr lang="ru-RU" dirty="0" err="1"/>
                        <a:t>В.В.Виноградов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72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7926712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r>
                        <a:rPr lang="ru-RU" dirty="0"/>
                        <a:t>МКНПЦ им А.С. Логинов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9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3</a:t>
                      </a:r>
                      <a:endParaRPr lang="ru-RU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4256914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r>
                        <a:rPr lang="ru-RU" dirty="0"/>
                        <a:t>ГКБ им </a:t>
                      </a:r>
                      <a:r>
                        <a:rPr lang="ru-RU" dirty="0" err="1"/>
                        <a:t>В.П.Демихов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9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6</a:t>
                      </a:r>
                      <a:endParaRPr lang="ru-RU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5990544"/>
                  </a:ext>
                </a:extLst>
              </a:tr>
            </a:tbl>
          </a:graphicData>
        </a:graphic>
      </p:graphicFrame>
      <p:sp>
        <p:nvSpPr>
          <p:cNvPr id="14" name="Правая фигурная скобка 13">
            <a:extLst>
              <a:ext uri="{FF2B5EF4-FFF2-40B4-BE49-F238E27FC236}">
                <a16:creationId xmlns:a16="http://schemas.microsoft.com/office/drawing/2014/main" id="{396823F4-DE70-43B8-8E87-1FA00A316C63}"/>
              </a:ext>
            </a:extLst>
          </p:cNvPr>
          <p:cNvSpPr/>
          <p:nvPr/>
        </p:nvSpPr>
        <p:spPr>
          <a:xfrm>
            <a:off x="7024914" y="5805714"/>
            <a:ext cx="460774" cy="687160"/>
          </a:xfrm>
          <a:prstGeom prst="rightBrace">
            <a:avLst/>
          </a:prstGeom>
          <a:ln w="952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258332-38A6-4176-AD07-E8F6EC6AB1C3}"/>
              </a:ext>
            </a:extLst>
          </p:cNvPr>
          <p:cNvSpPr txBox="1"/>
          <p:nvPr/>
        </p:nvSpPr>
        <p:spPr>
          <a:xfrm>
            <a:off x="8001000" y="5668396"/>
            <a:ext cx="4191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вые услуги -2020,2021</a:t>
            </a:r>
          </a:p>
        </p:txBody>
      </p:sp>
    </p:spTree>
    <p:extLst>
      <p:ext uri="{BB962C8B-B14F-4D97-AF65-F5344CB8AC3E}">
        <p14:creationId xmlns:p14="http://schemas.microsoft.com/office/powerpoint/2010/main" val="1844909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5032" y="365125"/>
            <a:ext cx="10579768" cy="1325563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ная урологическая служба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215566" y="1690688"/>
          <a:ext cx="622935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039139" y="1818861"/>
            <a:ext cx="41644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ная служба</a:t>
            </a:r>
          </a:p>
        </p:txBody>
      </p:sp>
      <p:graphicFrame>
        <p:nvGraphicFramePr>
          <p:cNvPr id="6" name="Таблица 6">
            <a:extLst>
              <a:ext uri="{FF2B5EF4-FFF2-40B4-BE49-F238E27FC236}">
                <a16:creationId xmlns:a16="http://schemas.microsoft.com/office/drawing/2014/main" id="{9AD10ED9-30FF-4ACF-92E8-316EFFD219DE}"/>
              </a:ext>
            </a:extLst>
          </p:cNvPr>
          <p:cNvGraphicFramePr>
            <a:graphicFrameLocks noGrp="1"/>
          </p:cNvGraphicFramePr>
          <p:nvPr/>
        </p:nvGraphicFramePr>
        <p:xfrm>
          <a:off x="6461812" y="2347142"/>
          <a:ext cx="5272988" cy="36948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247">
                  <a:extLst>
                    <a:ext uri="{9D8B030D-6E8A-4147-A177-3AD203B41FA5}">
                      <a16:colId xmlns:a16="http://schemas.microsoft.com/office/drawing/2014/main" val="951093724"/>
                    </a:ext>
                  </a:extLst>
                </a:gridCol>
                <a:gridCol w="1318247">
                  <a:extLst>
                    <a:ext uri="{9D8B030D-6E8A-4147-A177-3AD203B41FA5}">
                      <a16:colId xmlns:a16="http://schemas.microsoft.com/office/drawing/2014/main" val="1354486994"/>
                    </a:ext>
                  </a:extLst>
                </a:gridCol>
                <a:gridCol w="1318247">
                  <a:extLst>
                    <a:ext uri="{9D8B030D-6E8A-4147-A177-3AD203B41FA5}">
                      <a16:colId xmlns:a16="http://schemas.microsoft.com/office/drawing/2014/main" val="4069182800"/>
                    </a:ext>
                  </a:extLst>
                </a:gridCol>
                <a:gridCol w="1318247">
                  <a:extLst>
                    <a:ext uri="{9D8B030D-6E8A-4147-A177-3AD203B41FA5}">
                      <a16:colId xmlns:a16="http://schemas.microsoft.com/office/drawing/2014/main" val="191787959"/>
                    </a:ext>
                  </a:extLst>
                </a:gridCol>
              </a:tblGrid>
              <a:tr h="76166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920158"/>
                  </a:ext>
                </a:extLst>
              </a:tr>
              <a:tr h="880152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урологических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ек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8281683"/>
                  </a:ext>
                </a:extLst>
              </a:tr>
              <a:tr h="880152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пролеченных больных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9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3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7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3743782"/>
                  </a:ext>
                </a:extLst>
              </a:tr>
              <a:tr h="549473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рот койк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,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,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903255"/>
                  </a:ext>
                </a:extLst>
              </a:tr>
              <a:tr h="623441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тальность обща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72393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71172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5397DD-C359-468D-863A-81A51C91C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7808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1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ые проекты в Московской урологии 2020-2021гг</a:t>
            </a:r>
            <a:b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BC197B2-280B-4E56-B87B-359A9D6294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66940"/>
            <a:ext cx="10515600" cy="5225935"/>
          </a:xfrm>
        </p:spPr>
        <p:txBody>
          <a:bodyPr>
            <a:normAutofit fontScale="775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ьшое значение уделяется непрерывному образованию врачей урологов и смежных специалистов - гинекологов, онкологов, терапевтов и др.  На постоянной основе функционирует «Московская урологическая школа» в рамках которой врачи обеспечиваются методической литературой по вопросам диагностики и лечения урологических пациентов.  Внедрены в практику Московского здравоохранения методические рекомендации для пациентов с урологическими заболеваниями. 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 лазерных технологий в урологии, где проводятся обучающие курсы по современным лазерным методикам в лечении пациентов с мочекаменной болезнью, стриктурами уретры и другими заболеваниями мочеполовых органов мужчин и женщин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местно с зарубежными клиниками Италии и Бельгии разработаны курсы для повышения квалификации врачей урологов: применение лазерных методов  и </a:t>
            </a:r>
            <a:r>
              <a:rPr lang="ru-RU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ботических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ехнологий в оперативном лечении пациентов с доброкачественными и злокачественными заболеваниями предстательной железы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осковские урологи будут проходит стажировку по этим направлениям с 2020 года в лучших Европейских клиниках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ающий цикл по тазовой хирургии для врачей Москвы, России, стран СНГ и врачей Европейских стран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29075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815248" y="2018967"/>
            <a:ext cx="111386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учный руководитель – д.м.н., профессор, академик РАН-  </a:t>
            </a:r>
            <a:r>
              <a:rPr lang="ru-RU" sz="2400" b="1" i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.Ю.Пушкарь</a:t>
            </a:r>
            <a:endParaRPr lang="ru-RU" sz="2400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58467" y="2912375"/>
            <a:ext cx="178473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прерывное</a:t>
            </a:r>
          </a:p>
          <a:p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ое</a:t>
            </a:r>
          </a:p>
          <a:p>
            <a:endParaRPr lang="ru-RU" sz="2000" b="1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е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743200" y="2743200"/>
            <a:ext cx="8609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ru-RU" sz="96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565941" y="2912375"/>
            <a:ext cx="438793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качества медицинской помощи, оказываемой населению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изация методов лечения и профилактики урологических заболеваний.</a:t>
            </a:r>
          </a:p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е единых подходов, основанных на успешной медицинской практике и современных, технических и научных достижениях в данной области медицины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44388CD-63F6-4038-9A7B-CEA0ACD5C5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4924" y="2743200"/>
            <a:ext cx="4387935" cy="235499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95354F7-0A4D-4988-B7D8-64C8C98EF410}"/>
              </a:ext>
            </a:extLst>
          </p:cNvPr>
          <p:cNvSpPr txBox="1"/>
          <p:nvPr/>
        </p:nvSpPr>
        <p:spPr>
          <a:xfrm>
            <a:off x="1487276" y="1064004"/>
            <a:ext cx="87804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сковская урологическая школ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E1543E-C5AC-4765-A9BA-CC72BD308431}"/>
              </a:ext>
            </a:extLst>
          </p:cNvPr>
          <p:cNvSpPr txBox="1"/>
          <p:nvPr/>
        </p:nvSpPr>
        <p:spPr>
          <a:xfrm>
            <a:off x="1773716" y="286439"/>
            <a:ext cx="8405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ые проекты в Московской урологи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810AB4-D214-4486-98A2-03E281DD7443}"/>
              </a:ext>
            </a:extLst>
          </p:cNvPr>
          <p:cNvSpPr txBox="1"/>
          <p:nvPr/>
        </p:nvSpPr>
        <p:spPr>
          <a:xfrm>
            <a:off x="3492347" y="5651653"/>
            <a:ext cx="4737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ru-RU" sz="3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900</a:t>
            </a:r>
            <a:r>
              <a:rPr lang="en-US" sz="3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ушателей</a:t>
            </a:r>
          </a:p>
        </p:txBody>
      </p:sp>
    </p:spTree>
    <p:extLst>
      <p:ext uri="{BB962C8B-B14F-4D97-AF65-F5344CB8AC3E}">
        <p14:creationId xmlns:p14="http://schemas.microsoft.com/office/powerpoint/2010/main" val="30466034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A91C79-46CB-4037-8553-DD96340EF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ы в печать и изданы в 2020г: 32 стать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14F48B9-6727-40E1-AACC-9B2671D2A0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828663" cy="4351338"/>
          </a:xfrm>
        </p:spPr>
        <p:txBody>
          <a:bodyPr>
            <a:normAutofit fontScale="85000" lnSpcReduction="20000"/>
          </a:bodyPr>
          <a:lstStyle/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. Московская Медицина – 3 статьи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зета Московская медицина – 3 статьи- интервью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. Вестник РАН – 1 статья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 здоровье мегаполиса- 1 статья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борник научных трудов НИИОЗММ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4-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тья </a:t>
            </a:r>
            <a:endParaRPr lang="en-US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борник научных трудов НИИОЗММ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-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тей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ие рекомендации -  5 для врачей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ие рекомендации- 2 для пациентов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 Гинекология- 1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 Экспериментальная и клиническая урология-2 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. Дерматовенерология - 1 </a:t>
            </a:r>
          </a:p>
        </p:txBody>
      </p:sp>
    </p:spTree>
    <p:extLst>
      <p:ext uri="{BB962C8B-B14F-4D97-AF65-F5344CB8AC3E}">
        <p14:creationId xmlns:p14="http://schemas.microsoft.com/office/powerpoint/2010/main" val="15776693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BF247D-324C-4846-A6D7-1D02DEE9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 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их рекомендаций - издан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4434B4B-2B6E-4124-A881-C22DA90598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3500" y="1825625"/>
            <a:ext cx="10617200" cy="4351338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иодическая самостоятельная катетеризация мочевого пузыря (пособие для врачей и пациентов). Методические рекомендации №28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ные методические рекомендации по оказанию специализированной медицинской помощи взрослому населению по профилю «Урология» в условиях новой коронавирусной инфекции COVID-19 (Методические рекомендации №39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нципы и этапы восстановления урологической помощи после COVID-19 (Методические рекомендации №52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езболивание в урологии. Методические рекомендации №27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родинамические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сследования в функциональной урологии. Методические рекомендации №29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стренная хирургическая помощь в условиях COV1D-19. Практические рекомендации №40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ечение распространенных форм рака предстательной железы. Методические рекомендации №26</a:t>
            </a:r>
          </a:p>
        </p:txBody>
      </p:sp>
    </p:spTree>
    <p:extLst>
      <p:ext uri="{BB962C8B-B14F-4D97-AF65-F5344CB8AC3E}">
        <p14:creationId xmlns:p14="http://schemas.microsoft.com/office/powerpoint/2010/main" val="16780913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55E80D-26D3-43B3-ADB3-05AEEA98C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О по урологии </a:t>
            </a:r>
            <a:b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ель-октябрь 2020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4783799-9C1B-45DA-B663-F178D09375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939708" cy="4351338"/>
          </a:xfrm>
        </p:spPr>
        <p:txBody>
          <a:bodyPr>
            <a:normAutofit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юбовь Ходырева – зав. ОМО по урологии</a:t>
            </a:r>
          </a:p>
          <a:p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рачи –методисты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Юрий Куприянов</a:t>
            </a:r>
          </a:p>
          <a:p>
            <a:r>
              <a:rPr lang="ru-RU" sz="2400">
                <a:latin typeface="Times New Roman" panose="02020603050405020304" pitchFamily="18" charset="0"/>
                <a:cs typeface="Times New Roman" panose="02020603050405020304" pitchFamily="18" charset="0"/>
              </a:rPr>
              <a:t>Александр Васильев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тон </a:t>
            </a: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адченко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ман Строганов</a:t>
            </a: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сана Арефьева</a:t>
            </a: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ладимир Соловьев</a:t>
            </a: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7CD0349D-369E-40F1-8925-1C4651173DC0}"/>
              </a:ext>
            </a:extLst>
          </p:cNvPr>
          <p:cNvSpPr/>
          <p:nvPr/>
        </p:nvSpPr>
        <p:spPr>
          <a:xfrm>
            <a:off x="6731306" y="1905918"/>
            <a:ext cx="5460693" cy="440674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лены МОУ,РОУ,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AU, IC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еют ученую степень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ание «Московский врач»,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жировки в зарубежных клиниках Европы, США по урологии, </a:t>
            </a:r>
            <a:r>
              <a:rPr lang="ru-RU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гинекологии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йроурологии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трудники Кафедры  урологии МГМСУ им </a:t>
            </a:r>
            <a:r>
              <a:rPr lang="ru-RU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.И.Евдокимова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ачи – урологи 1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высшей квалификационной категории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остранный язык - английский</a:t>
            </a: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38302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F21CD1-53DE-4041-91BC-35C44FE5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353800" cy="1325563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Выступлений на международных конгрессах и конференциях с       докладам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2CD9851-2483-41C0-9FED-71BBC909B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0164" y="1355075"/>
            <a:ext cx="9679236" cy="482188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9.06- 30.06.2020г. – </a:t>
            </a: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гресс «Мужское здоровье»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1 доклад –</a:t>
            </a:r>
          </a:p>
          <a:p>
            <a:pPr marL="0" indent="0"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СНМП у мужчин. Портрет  пациента»</a:t>
            </a:r>
          </a:p>
          <a:p>
            <a:pPr marL="0" indent="0">
              <a:buNone/>
            </a:pP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.08-23.08.2020г.- </a:t>
            </a: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российская Школа спикеров с международным участием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1 доклад    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Рецидивирующие инфекции мочевыводящих путей.</a:t>
            </a:r>
            <a:r>
              <a:rPr lang="en-US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pdate.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marL="0" indent="0">
              <a:buNone/>
            </a:pP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.09.01.10.20- </a:t>
            </a: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российская конференция -Пожилой больной. Качество жизни</a:t>
            </a: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2 доклада  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Опыт московской урологии в </a:t>
            </a:r>
            <a:r>
              <a:rPr lang="en-US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, «Диагностика и лечение недержания мочи у пациенток старческого и пожилого возраста»</a:t>
            </a:r>
          </a:p>
        </p:txBody>
      </p:sp>
    </p:spTree>
    <p:extLst>
      <p:ext uri="{BB962C8B-B14F-4D97-AF65-F5344CB8AC3E}">
        <p14:creationId xmlns:p14="http://schemas.microsoft.com/office/powerpoint/2010/main" val="28187074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1592DE-D91A-4EA2-84F3-2F9DB5A4E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71309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Выступлений на конгрессах и конференциях с докладам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241D526-0325-4841-917A-D3E5A08BC2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8978" y="1322024"/>
            <a:ext cx="11070422" cy="4854939"/>
          </a:xfrm>
        </p:spPr>
        <p:txBody>
          <a:bodyPr>
            <a:normAutofit fontScale="92500" lnSpcReduction="10000"/>
          </a:bodyPr>
          <a:lstStyle/>
          <a:p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8.09.-30.09.2020г.- </a:t>
            </a:r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XI Всероссийский образовательный форум «Мать и Дитя»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углый стол – ИМП у женщин, что нужно знать гинекологам?»- 1 доклад </a:t>
            </a:r>
            <a:r>
              <a:rPr lang="ru-RU" sz="2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Современные знания о профилактике РИМП с позиций доказательной медицины»</a:t>
            </a:r>
          </a:p>
          <a:p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7.10-9.10.2020г.- </a:t>
            </a:r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ференция с международным участием  «Дни </a:t>
            </a:r>
            <a:r>
              <a:rPr lang="ru-RU" sz="2600" b="1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иненции</a:t>
            </a:r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Москве»-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доклада «Нейрогенный мочевой пузырь при </a:t>
            </a:r>
            <a:r>
              <a:rPr lang="ru-RU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дегенеративных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болеваниях»</a:t>
            </a:r>
          </a:p>
          <a:p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.10.-16.10.2020г.-</a:t>
            </a:r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II Международный конгресс «</a:t>
            </a:r>
            <a:r>
              <a:rPr lang="ru-RU" sz="2600" b="1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йрореабилитация</a:t>
            </a:r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20»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1 доклад </a:t>
            </a:r>
            <a:r>
              <a:rPr lang="ru-RU" sz="2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Диагностика и тактика ведения пациентов с нейрогенной дисфункцией МВП»</a:t>
            </a:r>
          </a:p>
          <a:p>
            <a:r>
              <a:rPr lang="ru-RU" sz="2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руется: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оябрь 2020 – доклады на Московской урологической школе и Российском обществе урологов, форуме «Здравоохранение 2020», конференция в Белгороде – «Симптомы нарушенного мочеиспускания у женщин. Как распутать этот клубок?»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95450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62A77B-1B62-44AC-834D-FAE971639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8258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в  конгрессе РООУ: 6 тезисов доклад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416079C-5904-44CF-81F7-84E8B572DB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945" y="1520328"/>
            <a:ext cx="10736855" cy="4656635"/>
          </a:xfrm>
        </p:spPr>
        <p:txBody>
          <a:bodyPr>
            <a:normAutofit fontScale="85000" lnSpcReduction="20000"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30.09.-2.10.2020г.- XV Ежегодный 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онгресс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ООУ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выраженности болевого синдрома у пациентов, перенесших диагностическую цистоскопию</a:t>
            </a:r>
          </a:p>
          <a:p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безопасности биопсии простаты под контролем </a:t>
            </a:r>
            <a:r>
              <a:rPr lang="ru-RU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истосканирования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отделении стационара кратковременного пребывания</a:t>
            </a:r>
          </a:p>
          <a:p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временные возможности и ограничения телемедицины в условиях пандемии COVID-19</a:t>
            </a:r>
          </a:p>
          <a:p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даленные функциональные и онкологические результаты лечения первых пациентов в РФ, перенесших робот-</a:t>
            </a:r>
            <a:r>
              <a:rPr lang="ru-RU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ссистированную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дикальную </a:t>
            </a:r>
            <a:r>
              <a:rPr lang="ru-RU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статэктомию</a:t>
            </a:r>
            <a:endParaRPr lang="ru-RU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ьтразвуковая </a:t>
            </a:r>
            <a:r>
              <a:rPr lang="ru-RU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блация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едстательной железы с использованием новейшего аппарата «</a:t>
            </a:r>
            <a:r>
              <a:rPr lang="ru-RU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ocal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ne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: оценка первых результатов</a:t>
            </a:r>
          </a:p>
          <a:p>
            <a:r>
              <a:rPr lang="ru-RU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риоаблация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едстательной ж</a:t>
            </a:r>
            <a:r>
              <a:rPr lang="ru-RU" i="1" dirty="0"/>
              <a:t>елезы: десятилетний опыт клиники урологии МГМСУ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21706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C0EA19-CB0F-4308-BC0B-B835ADA00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3680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ступления: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859450A-3AEC-4A30-975D-79089E5808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178806"/>
            <a:ext cx="10784595" cy="4998157"/>
          </a:xfrm>
        </p:spPr>
        <p:txBody>
          <a:bodyPr>
            <a:normAutofit fontScale="92500" lnSpcReduction="20000"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ступления на Научных советах Кафедры урологии МГМСУ им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.И.Евдокимов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и проведение рабочих совещаний с окружными урологами – 07.08.2020г, 01.10.2020г.</a:t>
            </a:r>
          </a:p>
          <a:p>
            <a:r>
              <a:rPr lang="ru-RU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суждение клинических рекомендаций урологическим сообществом: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держание мочи»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Доброкачественная гиперплазия предстательной железы»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Мочекаменная болезнь»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Нейрогенная дисфункция нижних мочевыводящих путей» «Почечная колика»</a:t>
            </a:r>
          </a:p>
          <a:p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а отчета ГВС МЗ РФ и ДЗМ </a:t>
            </a:r>
            <a:r>
              <a:rPr lang="ru-RU" b="1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.Ю.Пушкаря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 Урологическая служба Москвы и ЦФО» для МЗ РФ</a:t>
            </a:r>
          </a:p>
          <a:p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а материалов для пресс-службы ДЗМ «Открытие урологической клиники Москвы МЭРОМ </a:t>
            </a:r>
            <a:r>
              <a:rPr lang="ru-RU" b="1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С.Собяниным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2862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AD3D2D-33F3-41E8-9306-2EAA11820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100" y="327025"/>
            <a:ext cx="10515600" cy="571309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яли участие в подготовке и проведении интернет-опросов: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320B57C-DE76-49A4-9547-F059D71CE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9823"/>
            <a:ext cx="10515600" cy="3404212"/>
          </a:xfrm>
        </p:spPr>
        <p:txBody>
          <a:bodyPr>
            <a:norm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рос «Социальные сети в жизни уролога»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и психологического статуса врачей-урологов в условиях пандемии.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прос – Международное исследование «Covid-19 и сексуальность пары: любовь во время пандемии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71180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C9D5D9-91DE-46D6-8B14-BCDC38B6E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ы под патронатом  ДЗМ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9DCBC1B-FEDC-4251-8144-EB2C3D2A50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ртификационный цикл по урологии - сентябрь – октябрь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тестационная комиссия по присвоению категорий-ежемесячно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Московский врач»- ежемесячно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заменационная комиссия по отбору врачей урологов для работы в МО ДЗМ- еженедельно 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Москва – столица здоровья» оказание помощи иногородним пациентам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8422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9091B2-4928-48D3-8976-37DF018CD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и оформление технологических карт на комплексные медицинские услуги совместно с ДЗМ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F30BE41-A29A-4D2F-A700-6F4036EC86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600" y="1501775"/>
            <a:ext cx="10998200" cy="49911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одится работа по оформлению технологических карт по 6 нозологиям и выполнению КУДИ:</a:t>
            </a:r>
          </a:p>
          <a:p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истит</a:t>
            </a:r>
          </a:p>
          <a:p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реждение почек</a:t>
            </a:r>
          </a:p>
          <a:p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простатит</a:t>
            </a:r>
          </a:p>
          <a:p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чекаменная болезнь</a:t>
            </a:r>
          </a:p>
          <a:p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перплазия предстательной железы</a:t>
            </a:r>
          </a:p>
          <a:p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пиелонефрит </a:t>
            </a:r>
          </a:p>
          <a:p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лексное </a:t>
            </a:r>
            <a:r>
              <a:rPr lang="ru-RU" sz="2400" dirty="0" err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динамическое</a:t>
            </a:r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сследование – МЗ РФ</a:t>
            </a:r>
          </a:p>
        </p:txBody>
      </p:sp>
    </p:spTree>
    <p:extLst>
      <p:ext uri="{BB962C8B-B14F-4D97-AF65-F5344CB8AC3E}">
        <p14:creationId xmlns:p14="http://schemas.microsoft.com/office/powerpoint/2010/main" val="5827581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3F6599-A378-465F-B6FA-D76958D05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ы: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9AE8C98-CF5B-42A9-869E-EC8AC70640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0650"/>
            <a:ext cx="11181202" cy="4786313"/>
          </a:xfrm>
        </p:spPr>
        <p:txBody>
          <a:bodyPr>
            <a:norm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 с международным участием – «Урология в период пандемии» -  21.05.20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Применение ботулинического токсина типа А при ГМП»-  29.05.2020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Разбор клинических случаев: отбор пациентов с недержанием мочи для проведения сакральной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модуляции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- 21.09.2020</a:t>
            </a:r>
          </a:p>
          <a:p>
            <a:endParaRPr lang="ru-RU" sz="2400" dirty="0"/>
          </a:p>
          <a:p>
            <a:endParaRPr lang="ru-RU" sz="2400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02305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9BACF3-E083-44DC-BBD0-E6971C949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60292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ы: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87C1000-FA41-49B6-A93D-30A67C1341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653"/>
            <a:ext cx="10515600" cy="5097310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тернет - Проект – Непрерывное образование врачей в рамках МУШ» &gt; 20 лекций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лотный проект- «Персональный помощник» маршрутизация онкологических больных под патронатом Правительства города Москвы и  ДЗМ – ЮАО, ЮЗАО, ЮВАО.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вый Интернет-Проект для пациентов урологического профиля России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11112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43181" y="2777533"/>
            <a:ext cx="61804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endParaRPr lang="ru-RU" sz="2400" b="1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344058" y="1421177"/>
            <a:ext cx="9650776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</a:t>
            </a: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иагностические дни «Проверь свою простату» - февраль 2020</a:t>
            </a:r>
          </a:p>
          <a:p>
            <a:pPr marL="457200" lvl="0" indent="-4572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ru-RU" sz="28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457200" lvl="0" indent="-4572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Урологическое здоровье женщин»- март 2020</a:t>
            </a:r>
          </a:p>
          <a:p>
            <a:pPr marL="457200" lvl="0" indent="-4572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ru-RU" sz="28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lvl="0" indent="-4572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тернет школа для пациентов урологического профиля- октябрь-декабрь 2020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028761" y="3500439"/>
            <a:ext cx="51632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400" b="1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400" b="1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714500" y="351237"/>
            <a:ext cx="8058892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колы для пациентов </a:t>
            </a:r>
          </a:p>
        </p:txBody>
      </p:sp>
    </p:spTree>
    <p:extLst>
      <p:ext uri="{BB962C8B-B14F-4D97-AF65-F5344CB8AC3E}">
        <p14:creationId xmlns:p14="http://schemas.microsoft.com/office/powerpoint/2010/main" val="2592182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0474" y="184151"/>
            <a:ext cx="11591409" cy="984250"/>
          </a:xfrm>
        </p:spPr>
        <p:txBody>
          <a:bodyPr>
            <a:normAutofit/>
          </a:bodyPr>
          <a:lstStyle/>
          <a:p>
            <a:r>
              <a:rPr lang="ru-RU" sz="27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логическая служба ДЗМ представлена: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4519" y="1947135"/>
            <a:ext cx="3482961" cy="347865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40316" y="1782117"/>
            <a:ext cx="4949042" cy="1631212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ru-RU" sz="2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булаторная урологическая помощь</a:t>
            </a: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46 амбулаторных центров с филиалами,</a:t>
            </a:r>
          </a:p>
          <a:p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5-урологических кабинетов</a:t>
            </a:r>
          </a:p>
          <a:p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-поликлиник при стационарах</a:t>
            </a:r>
          </a:p>
          <a:p>
            <a:endParaRPr lang="ru-RU" sz="20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153401" y="2628901"/>
            <a:ext cx="3448050" cy="3477871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ru-RU" sz="2000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ная урологическая  помощь </a:t>
            </a: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9 отделений: </a:t>
            </a:r>
          </a:p>
          <a:p>
            <a:pPr marL="342883" indent="-342883">
              <a:buFont typeface="Arial" panose="020B0604020202020204" pitchFamily="34" charset="0"/>
              <a:buChar char="•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 городских клинических больниц,</a:t>
            </a:r>
            <a:endParaRPr lang="ru-RU" sz="20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883" indent="-342883">
              <a:buFont typeface="Arial" panose="020B0604020202020204" pitchFamily="34" charset="0"/>
              <a:buChar char="•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 госпиталя для ветеранов войн, </a:t>
            </a:r>
            <a:endParaRPr lang="ru-RU" sz="20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883" indent="-342883">
              <a:buFont typeface="Arial" panose="020B0604020202020204" pitchFamily="34" charset="0"/>
              <a:buChar char="•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КНПЦ им </a:t>
            </a:r>
            <a:r>
              <a:rPr lang="ru-RU" sz="2000" b="1" i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.С.Логинова</a:t>
            </a: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endParaRPr lang="ru-RU" sz="20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883" indent="-342883">
              <a:buFont typeface="Arial" panose="020B0604020202020204" pitchFamily="34" charset="0"/>
              <a:buChar char="•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НПЦ борьбы с туберкулезом</a:t>
            </a:r>
            <a:endParaRPr lang="ru-RU" sz="20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D30960B-8697-488E-9144-F74C0062EB80}"/>
              </a:ext>
            </a:extLst>
          </p:cNvPr>
          <p:cNvSpPr txBox="1"/>
          <p:nvPr/>
        </p:nvSpPr>
        <p:spPr>
          <a:xfrm>
            <a:off x="1365662" y="5700156"/>
            <a:ext cx="7113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9 157 677- прикрепленное взрослое население</a:t>
            </a:r>
          </a:p>
        </p:txBody>
      </p:sp>
    </p:spTree>
    <p:extLst>
      <p:ext uri="{BB962C8B-B14F-4D97-AF65-F5344CB8AC3E}">
        <p14:creationId xmlns:p14="http://schemas.microsoft.com/office/powerpoint/2010/main" val="11016880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59039E-BC55-42A9-BBD8-5BBFF9415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45882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нтернет и теле -Коммуникации</a:t>
            </a:r>
            <a:endParaRPr 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29ED61A-94C4-44DB-8A74-2E5AFD4FF4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447800"/>
            <a:ext cx="10668000" cy="4729163"/>
          </a:xfrm>
        </p:spPr>
        <p:txBody>
          <a:bodyPr>
            <a:norm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ктуализирована страница главного внештатного специалиста на сайте ДЗМ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ктуализирована страница ОМО по урологии на сайте НИИОЗММ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востная лента – 71новость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леканал «Доктор» – «Урология в период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видно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нфекции»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вый канал ЦТВ – «О самом главном»  «Преобразование урологической службы и участие врачей урологов в борьбе с коронавирусной инфекцией»</a:t>
            </a:r>
          </a:p>
          <a:p>
            <a:pPr marL="0" indent="0">
              <a:buNone/>
            </a:pP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1686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1657612-39C2-4B63-BC7E-0CDF1C315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14528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логия в период пандемии 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endParaRPr lang="ru-RU" sz="3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B41E993-E31D-4C44-A8FD-908BD8B29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8978" y="2006600"/>
            <a:ext cx="10714822" cy="4584700"/>
          </a:xfrm>
        </p:spPr>
        <p:txBody>
          <a:bodyPr>
            <a:normAutofit lnSpcReduction="10000"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нципы и этапы восстановления урологической помощи после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 с международным участием – Урология в период пандемии 21.05.20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е помощи пациентам урологического профиля в условиях пандемии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ронавирусно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нфекции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ovid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19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(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.Эксперименталь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клиническая урология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. 2020)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ные методические рекомендации по оказанию специализированной медицинской помощи в условиях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vid-19/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ременные методические рекомендации по оказанию  хирургической помощи в условиях Covid-19 – для МЗ РФ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47652A2-75C3-4F3B-ACAC-623FDED308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9800" y="0"/>
            <a:ext cx="23622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4526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BBD7FA96-94B4-4DAD-827D-E9BEEDF2BC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ъединение академической, университетской науки, клинической практики и непрерывного медицинского образования – это то, что обеспечило успех в лечении больных коронавирусом, и сохранило урологию как единую специальность» </a:t>
            </a:r>
          </a:p>
          <a:p>
            <a:pPr marL="0" indent="0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r">
              <a:buNone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митрий Пушкарь</a:t>
            </a:r>
          </a:p>
          <a:p>
            <a:pPr marL="0" indent="0">
              <a:buNone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</a:t>
            </a: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естника Российского общества урологов», 2020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91164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BDF51064-699D-48DD-9C1D-A80FFD4F9F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143000"/>
            <a:ext cx="10591800" cy="50339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3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3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дарим за внимание!</a:t>
            </a:r>
          </a:p>
          <a:p>
            <a:pPr marL="0" indent="0">
              <a:buNone/>
            </a:pPr>
            <a:endParaRPr lang="ru-RU" sz="3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3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</a:t>
            </a:r>
          </a:p>
          <a:p>
            <a:pPr marL="0" indent="0">
              <a:buNone/>
            </a:pPr>
            <a:r>
              <a:rPr lang="ru-RU" sz="3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Берегите себя и близких!</a:t>
            </a:r>
          </a:p>
        </p:txBody>
      </p:sp>
    </p:spTree>
    <p:extLst>
      <p:ext uri="{BB962C8B-B14F-4D97-AF65-F5344CB8AC3E}">
        <p14:creationId xmlns:p14="http://schemas.microsoft.com/office/powerpoint/2010/main" val="1326034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2DDA79-B0C5-4E23-9BDE-0AAA90E51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2928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дры: врачи-урологи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:a16="http://schemas.microsoft.com/office/drawing/2014/main" id="{C6538886-F64A-416B-8B99-09D3B231B09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06031262"/>
              </p:ext>
            </p:extLst>
          </p:nvPr>
        </p:nvGraphicFramePr>
        <p:xfrm>
          <a:off x="838200" y="1825625"/>
          <a:ext cx="10515600" cy="4667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151109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4031512-93C8-40B0-ACD2-64B1EA987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86159"/>
          </a:xfrm>
        </p:spPr>
        <p:txBody>
          <a:bodyPr>
            <a:normAutofit/>
          </a:bodyPr>
          <a:lstStyle/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Центры компетенций в урологи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938A841-ECDE-4F16-9568-20A23EB2E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6281" y="1251284"/>
            <a:ext cx="10237519" cy="4925679"/>
          </a:xfrm>
        </p:spPr>
        <p:txBody>
          <a:bodyPr>
            <a:normAutofit fontScale="70000" lnSpcReduction="20000"/>
          </a:bodyPr>
          <a:lstStyle/>
          <a:p>
            <a:r>
              <a:rPr lang="ru-RU" sz="31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иверситетские клиники на базе урологических отделений Департамента здравоохранения города Москвы</a:t>
            </a:r>
          </a:p>
          <a:p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им С.И. </a:t>
            </a:r>
            <a:r>
              <a:rPr lang="ru-RU" sz="3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пасокукоцкого</a:t>
            </a:r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ЗМ» – Университетская клиника МГМСУ им </a:t>
            </a:r>
            <a:r>
              <a:rPr lang="ru-RU" sz="3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.И.Евдокимова</a:t>
            </a:r>
            <a:endParaRPr lang="ru-RU" sz="3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№1 им </a:t>
            </a:r>
            <a:r>
              <a:rPr lang="ru-RU" sz="3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.И.Пирогова</a:t>
            </a:r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ЗМ» – Университетская клиника РГМУ им </a:t>
            </a:r>
            <a:r>
              <a:rPr lang="ru-RU" sz="3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.И.Пирогова</a:t>
            </a:r>
            <a:endParaRPr lang="ru-RU" sz="3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№15 им </a:t>
            </a:r>
            <a:r>
              <a:rPr lang="ru-RU" sz="3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.М.Филатова</a:t>
            </a:r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ЗМ» –  Университетская клиника Первый МГМУ им </a:t>
            </a:r>
            <a:r>
              <a:rPr lang="ru-RU" sz="3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.М.Сеченова</a:t>
            </a:r>
            <a:endParaRPr lang="ru-RU" sz="3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№17 ДЗМ» Университетская клиника МГУ им М.В. Ломоносова</a:t>
            </a:r>
          </a:p>
          <a:p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№31 ДЗМ» Университетская клиника МГУ им  </a:t>
            </a:r>
            <a:r>
              <a:rPr lang="ru-RU" sz="3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.В.Ломоносова</a:t>
            </a:r>
            <a:endParaRPr lang="ru-RU" sz="3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им </a:t>
            </a:r>
            <a:r>
              <a:rPr lang="ru-RU" sz="3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.П.Боткина</a:t>
            </a:r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ЗМ» Университетская клиника РМАНПО</a:t>
            </a:r>
          </a:p>
          <a:p>
            <a:endParaRPr lang="ru-RU" sz="3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31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федры урологии Московских университетов работают на базе</a:t>
            </a:r>
          </a:p>
          <a:p>
            <a:pPr marL="0" indent="0">
              <a:buNone/>
            </a:pPr>
            <a:r>
              <a:rPr lang="ru-RU" sz="31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19 городских урологических отделений  </a:t>
            </a:r>
          </a:p>
          <a:p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93F158-3866-450B-B225-3AD3FEE3CE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08919" y="5334000"/>
            <a:ext cx="2133600" cy="139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1003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5606" y="317221"/>
            <a:ext cx="11223970" cy="584771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ctr"/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Центры компетенций в урологи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336504" y="1523859"/>
            <a:ext cx="9782175" cy="830993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ами Департамента здравоохранения города Москвы  определены профили специализированной урологической помощи: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68557" y="3044311"/>
            <a:ext cx="3727173" cy="400105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ru-RU" sz="2000" b="1" i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гинекология</a:t>
            </a:r>
            <a:endParaRPr lang="ru-RU" sz="2000" b="1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15000" y="3057525"/>
            <a:ext cx="6362701" cy="707882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marL="342883" indent="-342883">
              <a:buFont typeface="Wingdings" panose="05000000000000000000" pitchFamily="2" charset="2"/>
              <a:buChar char="§"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им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И.Спасокукоцкого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ЗМ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883" indent="-342883">
              <a:buFont typeface="Wingdings" panose="05000000000000000000" pitchFamily="2" charset="2"/>
              <a:buChar char="§"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УЗ ГКБ им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.Боткина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ЗМ;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69165" y="4410075"/>
            <a:ext cx="4936434" cy="400105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ru-RU" sz="2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i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коурология</a:t>
            </a:r>
            <a:endParaRPr lang="ru-RU" sz="2000" b="1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94512" y="4257676"/>
            <a:ext cx="6283189" cy="1631212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marL="342883" indent="-342883">
              <a:buFont typeface="Wingdings" panose="05000000000000000000" pitchFamily="2" charset="2"/>
              <a:buChar char="§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им </a:t>
            </a:r>
            <a:r>
              <a:rPr lang="ru-RU" sz="2000" b="1" i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И.Спасокукоцкого</a:t>
            </a: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ЗМ»,</a:t>
            </a:r>
          </a:p>
          <a:p>
            <a:pPr marL="342883" indent="-342883">
              <a:buFont typeface="Wingdings" panose="05000000000000000000" pitchFamily="2" charset="2"/>
              <a:buChar char="§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БУЗ ГКБ им </a:t>
            </a:r>
            <a:r>
              <a:rPr lang="ru-RU" sz="2000" b="1" i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.Боткина</a:t>
            </a: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ЗМ,</a:t>
            </a:r>
          </a:p>
          <a:p>
            <a:pPr marL="342883" indent="-342883">
              <a:buFont typeface="Wingdings" panose="05000000000000000000" pitchFamily="2" charset="2"/>
              <a:buChar char="§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БУЗ «ГКБ № 31 ДЗМ», </a:t>
            </a:r>
          </a:p>
          <a:p>
            <a:pPr marL="342883" indent="-342883">
              <a:buFont typeface="Wingdings" panose="05000000000000000000" pitchFamily="2" charset="2"/>
              <a:buChar char="§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№1 им </a:t>
            </a:r>
            <a:r>
              <a:rPr lang="ru-RU" sz="2000" b="1" i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.И.Пирогова</a:t>
            </a: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ЗМ»,</a:t>
            </a:r>
          </a:p>
          <a:p>
            <a:pPr marL="342883" indent="-342883">
              <a:buFont typeface="Wingdings" panose="05000000000000000000" pitchFamily="2" charset="2"/>
              <a:buChar char="§"/>
            </a:pP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им. </a:t>
            </a:r>
            <a:r>
              <a:rPr lang="ru-RU" sz="2000" b="1" i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.Д.Плетнева</a:t>
            </a: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ЗМ</a:t>
            </a:r>
          </a:p>
        </p:txBody>
      </p:sp>
    </p:spTree>
    <p:extLst>
      <p:ext uri="{BB962C8B-B14F-4D97-AF65-F5344CB8AC3E}">
        <p14:creationId xmlns:p14="http://schemas.microsoft.com/office/powerpoint/2010/main" val="24229250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C1E4FE3-4EF2-4FE4-90F2-12FE0660EFEB}"/>
              </a:ext>
            </a:extLst>
          </p:cNvPr>
          <p:cNvSpPr txBox="1"/>
          <p:nvPr/>
        </p:nvSpPr>
        <p:spPr>
          <a:xfrm>
            <a:off x="1009402" y="1223158"/>
            <a:ext cx="9904021" cy="5447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 оперативной </a:t>
            </a:r>
            <a:r>
              <a:rPr lang="ru-RU" sz="2000" b="1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ботассистированной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и реконструктивной урологии  ДЗМ - 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БУЗ «ГКБ им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.П.Спасокукоцкого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ЗМ»</a:t>
            </a:r>
          </a:p>
          <a:p>
            <a:endParaRPr lang="ru-RU" dirty="0"/>
          </a:p>
          <a:p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 лазерных технологий в  урологии  </a:t>
            </a:r>
          </a:p>
          <a:p>
            <a:r>
              <a:rPr lang="ru-RU" dirty="0"/>
              <a:t>ГБУЗ «Городская клиническая больница им. </a:t>
            </a:r>
            <a:r>
              <a:rPr lang="ru-RU" dirty="0" err="1"/>
              <a:t>Д.Д.Плетнева</a:t>
            </a:r>
            <a:r>
              <a:rPr lang="ru-RU" dirty="0"/>
              <a:t> ДЗМ»,</a:t>
            </a:r>
          </a:p>
          <a:p>
            <a:r>
              <a:rPr lang="ru-RU" dirty="0"/>
              <a:t>ГБУЗ «Городская клиническая больница им </a:t>
            </a:r>
            <a:r>
              <a:rPr lang="ru-RU" dirty="0" err="1"/>
              <a:t>С.И.Спасокукоцкого</a:t>
            </a:r>
            <a:r>
              <a:rPr lang="ru-RU" dirty="0"/>
              <a:t> ДЗМ»</a:t>
            </a:r>
          </a:p>
          <a:p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ы </a:t>
            </a:r>
            <a:r>
              <a:rPr lang="ru-RU" sz="2000" b="1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стосканирования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едстательной железы:</a:t>
            </a:r>
          </a:p>
          <a:p>
            <a:r>
              <a:rPr lang="ru-RU" dirty="0"/>
              <a:t>ГБУЗ «Городская клиническая больница им. С.И. </a:t>
            </a:r>
            <a:r>
              <a:rPr lang="ru-RU" dirty="0" err="1"/>
              <a:t>Спасокукоцкого</a:t>
            </a:r>
            <a:r>
              <a:rPr lang="ru-RU" dirty="0"/>
              <a:t> ДЗМ»,</a:t>
            </a:r>
          </a:p>
          <a:p>
            <a:r>
              <a:rPr lang="ru-RU" dirty="0"/>
              <a:t>ГБУЗ «Городская клиническая больница №1 </a:t>
            </a:r>
            <a:r>
              <a:rPr lang="ru-RU" dirty="0" err="1"/>
              <a:t>им.Н.И.Пирогова</a:t>
            </a:r>
            <a:r>
              <a:rPr lang="ru-RU" dirty="0"/>
              <a:t> ДЗМ»,</a:t>
            </a:r>
          </a:p>
          <a:p>
            <a:r>
              <a:rPr lang="ru-RU" dirty="0"/>
              <a:t>ГБУЗ «Городская клиническая больница им. Л.А. </a:t>
            </a:r>
            <a:r>
              <a:rPr lang="ru-RU" dirty="0" err="1"/>
              <a:t>Ворохобова</a:t>
            </a:r>
            <a:r>
              <a:rPr lang="ru-RU" dirty="0"/>
              <a:t> ДЗМ»,</a:t>
            </a:r>
          </a:p>
          <a:p>
            <a:r>
              <a:rPr lang="ru-RU" dirty="0"/>
              <a:t>ГБУЗ «Городская клиническая больница им. </a:t>
            </a:r>
            <a:r>
              <a:rPr lang="ru-RU" dirty="0" err="1"/>
              <a:t>Д.Д.Плетнева</a:t>
            </a:r>
            <a:r>
              <a:rPr lang="ru-RU" dirty="0"/>
              <a:t> ДЗМ»,</a:t>
            </a:r>
          </a:p>
          <a:p>
            <a:r>
              <a:rPr lang="ru-RU" dirty="0"/>
              <a:t>ГБУЗ «Городская клиническая больница </a:t>
            </a:r>
            <a:r>
              <a:rPr lang="ru-RU" dirty="0" err="1"/>
              <a:t>им.С.П.Боткина</a:t>
            </a:r>
            <a:r>
              <a:rPr lang="ru-RU" dirty="0"/>
              <a:t> ДЗМ»,</a:t>
            </a:r>
          </a:p>
          <a:p>
            <a:r>
              <a:rPr lang="ru-RU" dirty="0"/>
              <a:t>ГБУЗ «Городская клиническая больница им. </a:t>
            </a:r>
            <a:r>
              <a:rPr lang="ru-RU" dirty="0" err="1"/>
              <a:t>В.П.Демихова</a:t>
            </a:r>
            <a:r>
              <a:rPr lang="ru-RU" dirty="0"/>
              <a:t> ДЗМ»,</a:t>
            </a:r>
          </a:p>
          <a:p>
            <a:r>
              <a:rPr lang="ru-RU" dirty="0"/>
              <a:t>ГБУЗ «Городская клиническая больница №29 им. </a:t>
            </a:r>
            <a:r>
              <a:rPr lang="ru-RU" dirty="0" err="1"/>
              <a:t>Н.Э.Баумана</a:t>
            </a:r>
            <a:r>
              <a:rPr lang="ru-RU" dirty="0"/>
              <a:t> ДЗМ»,</a:t>
            </a:r>
          </a:p>
          <a:p>
            <a:r>
              <a:rPr lang="ru-RU" dirty="0"/>
              <a:t>ГБУЗ «Городская клиническая больница №31 ДЗМ»</a:t>
            </a:r>
          </a:p>
          <a:p>
            <a:r>
              <a:rPr lang="ru-RU" dirty="0"/>
              <a:t>ГБУЗ «Городская клиническая больница им. </a:t>
            </a:r>
            <a:r>
              <a:rPr lang="ru-RU" dirty="0" err="1"/>
              <a:t>А.К.Ерамишанцева</a:t>
            </a:r>
            <a:r>
              <a:rPr lang="ru-RU" dirty="0"/>
              <a:t> ДЗМ»</a:t>
            </a:r>
          </a:p>
          <a:p>
            <a:r>
              <a:rPr lang="ru-RU" dirty="0"/>
              <a:t>ГБУЗ «Городская клиническая больница №52 ДЗМ»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8ED0DE1-0FC8-4E7F-B601-01277F6BD719}"/>
              </a:ext>
            </a:extLst>
          </p:cNvPr>
          <p:cNvSpPr/>
          <p:nvPr/>
        </p:nvSpPr>
        <p:spPr>
          <a:xfrm>
            <a:off x="348916" y="157553"/>
            <a:ext cx="112856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Центры компетенций в урологической службе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917C3C8-7F58-47C0-9E82-2C9D873F6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1793" y="1894902"/>
            <a:ext cx="2346593" cy="4683568"/>
          </a:xfrm>
          <a:prstGeom prst="rect">
            <a:avLst/>
          </a:prstGeom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7437626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32402"/>
          </a:xfrm>
        </p:spPr>
        <p:txBody>
          <a:bodyPr>
            <a:normAutofit fontScale="90000"/>
          </a:bodyPr>
          <a:lstStyle/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ru-RU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сковская программа ранней диагностики и лечения рака предстательной железы»</a:t>
            </a: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3709731582"/>
              </p:ext>
            </p:extLst>
          </p:nvPr>
        </p:nvGraphicFramePr>
        <p:xfrm>
          <a:off x="961902" y="2049851"/>
          <a:ext cx="10616540" cy="2118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517793" y="4808148"/>
            <a:ext cx="1140245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о количество биопсий простаты, количества гистологических исследований</a:t>
            </a:r>
          </a:p>
          <a:p>
            <a:pPr algn="ctr"/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счет  организации центров и внедрения в практику  протоколов </a:t>
            </a:r>
            <a:r>
              <a:rPr lang="ru-RU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стосканирования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остаты, что   сокращает расходы  на диагностику заболеваний предстательной железы, способствует раннему выявлению рака простаты и возможности радикального лечения с использованием лазерных и </a:t>
            </a:r>
            <a:r>
              <a:rPr lang="ru-RU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ботических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ехнологий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E6DFD0-F05D-4ABC-A05E-1B699AF30864}"/>
              </a:ext>
            </a:extLst>
          </p:cNvPr>
          <p:cNvSpPr txBox="1"/>
          <p:nvPr/>
        </p:nvSpPr>
        <p:spPr>
          <a:xfrm>
            <a:off x="961902" y="1255923"/>
            <a:ext cx="106165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и функционирует уникальный московский регистр (www.historegistr.ru) по проведению биопсии простаты под контролем </a:t>
            </a:r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стосканирования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в который уже внесены данные почти 2 тыс. прицельных биопсий простаты</a:t>
            </a:r>
          </a:p>
        </p:txBody>
      </p:sp>
    </p:spTree>
    <p:extLst>
      <p:ext uri="{BB962C8B-B14F-4D97-AF65-F5344CB8AC3E}">
        <p14:creationId xmlns:p14="http://schemas.microsoft.com/office/powerpoint/2010/main" val="8576431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95E8DB6-BAD0-4EA0-B8E3-90DCF8809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 оперативной </a:t>
            </a:r>
            <a:r>
              <a:rPr lang="ru-RU" sz="28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ботассистированной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реконструктивной урологии на базе ГКБ им </a:t>
            </a:r>
            <a:r>
              <a:rPr lang="ru-RU" sz="28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.Спасокукоцкого</a:t>
            </a:r>
            <a:br>
              <a:rPr lang="ru-RU" sz="2800" b="1" dirty="0">
                <a:solidFill>
                  <a:srgbClr val="FF0000"/>
                </a:solidFill>
              </a:rPr>
            </a:br>
            <a:endParaRPr lang="ru-RU" sz="2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528B84BF-CAC3-400F-8FEF-E30AD2385B44}"/>
              </a:ext>
            </a:extLst>
          </p:cNvPr>
          <p:cNvSpPr/>
          <p:nvPr/>
        </p:nvSpPr>
        <p:spPr>
          <a:xfrm>
            <a:off x="1333042" y="2875402"/>
            <a:ext cx="10653310" cy="1189822"/>
          </a:xfrm>
          <a:prstGeom prst="roundRect">
            <a:avLst/>
          </a:prstGeom>
          <a:solidFill>
            <a:srgbClr val="FF33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F694508-14D1-4AD4-93F5-8295E8F5714C}"/>
              </a:ext>
            </a:extLst>
          </p:cNvPr>
          <p:cNvSpPr txBox="1"/>
          <p:nvPr/>
        </p:nvSpPr>
        <p:spPr>
          <a:xfrm>
            <a:off x="2500828" y="3029639"/>
            <a:ext cx="86482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ЗРАБОТКА И ВНЕДРЕНИЕ ОТЕЧЕСТВЕННЫХ СИНТЕТИЧЕСКИХ ПРОТЕЗОВ НОВОГО ПОКОЛЕНИЯ, ПОЗВОЛЯЮЩИЕ ПРОВОДИТЬ ЛЕЧЕНИЕ НЕДЕРЖАНИЯ МОЧИ У ЖЕНЩИН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E62F370-B9A9-47EE-ADFC-9FBA63D28B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1809" y="4553700"/>
            <a:ext cx="2158161" cy="1758965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93278A5-33F0-47F0-BBB8-719A8DBE46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928" y="4553700"/>
            <a:ext cx="2027103" cy="1758965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3705B4A-74FE-444A-8BA4-C337042F18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33060" y="4553700"/>
            <a:ext cx="2027103" cy="1758965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A99BD91-00F6-40CB-8FF2-5621EF31B54E}"/>
              </a:ext>
            </a:extLst>
          </p:cNvPr>
          <p:cNvSpPr txBox="1"/>
          <p:nvPr/>
        </p:nvSpPr>
        <p:spPr>
          <a:xfrm>
            <a:off x="3294043" y="1690689"/>
            <a:ext cx="63971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енская урология-оригинальные методики в Московскую практику</a:t>
            </a:r>
          </a:p>
        </p:txBody>
      </p:sp>
    </p:spTree>
    <p:extLst>
      <p:ext uri="{BB962C8B-B14F-4D97-AF65-F5344CB8AC3E}">
        <p14:creationId xmlns:p14="http://schemas.microsoft.com/office/powerpoint/2010/main" val="3355011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6</TotalTime>
  <Words>2314</Words>
  <Application>Microsoft Office PowerPoint</Application>
  <PresentationFormat>Широкоэкранный</PresentationFormat>
  <Paragraphs>321</Paragraphs>
  <Slides>3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41" baseType="lpstr">
      <vt:lpstr>Arial</vt:lpstr>
      <vt:lpstr>Calibri</vt:lpstr>
      <vt:lpstr>Calibri Light</vt:lpstr>
      <vt:lpstr>Times New Roman</vt:lpstr>
      <vt:lpstr>Wingdings</vt:lpstr>
      <vt:lpstr>Тема Office</vt:lpstr>
      <vt:lpstr>1_Тема Office</vt:lpstr>
      <vt:lpstr>think-cell Slide</vt:lpstr>
      <vt:lpstr>ДЕПАРТАМЕНТ ЗДРАВООХРАНЕНИЯ ГОРОДА МОСКВЫ  НИИОЗММ  </vt:lpstr>
      <vt:lpstr>ОМО по урологии  апрель-октябрь 2020</vt:lpstr>
      <vt:lpstr>Урологическая служба ДЗМ представлена:</vt:lpstr>
      <vt:lpstr>Кадры: врачи-урологи </vt:lpstr>
      <vt:lpstr> Центры компетенций в урологии</vt:lpstr>
      <vt:lpstr>Презентация PowerPoint</vt:lpstr>
      <vt:lpstr>Презентация PowerPoint</vt:lpstr>
      <vt:lpstr>Московская программа ранней диагностики и лечения рака предстательной железы»</vt:lpstr>
      <vt:lpstr>Центр оперативной роботассистированной и реконструктивной урологии на базе ГКБ им С.П.Спасокукоцкого </vt:lpstr>
      <vt:lpstr>Наука-практика-управленческие решения </vt:lpstr>
      <vt:lpstr>Центр лазерных технологий в  урологии ГБУЗ «ГКБ им. Д.Д.Плетнева ДЗМ» </vt:lpstr>
      <vt:lpstr>Специализированная  урологическая бригада СМП </vt:lpstr>
      <vt:lpstr>Стационары кратковременного пребывания –Управленческие решения</vt:lpstr>
      <vt:lpstr>Стационар кратковременного пребывания</vt:lpstr>
      <vt:lpstr>Стационарная урологическая служба</vt:lpstr>
      <vt:lpstr>Образовательные проекты в Московской урологии 2020-2021гг </vt:lpstr>
      <vt:lpstr>Презентация PowerPoint</vt:lpstr>
      <vt:lpstr>Направлены в печать и изданы в 2020г: 32 статьи</vt:lpstr>
      <vt:lpstr>7 Методических рекомендаций - изданы</vt:lpstr>
      <vt:lpstr>11 -Выступлений на международных конгрессах и конференциях с       докладами</vt:lpstr>
      <vt:lpstr>11-Выступлений на конгрессах и конференциях с докладами</vt:lpstr>
      <vt:lpstr>Участие в  конгрессе РООУ: 6 тезисов докладов</vt:lpstr>
      <vt:lpstr>Выступления:</vt:lpstr>
      <vt:lpstr>Приняли участие в подготовке и проведении интернет-опросов:</vt:lpstr>
      <vt:lpstr>Проекты под патронатом  ДЗМ</vt:lpstr>
      <vt:lpstr>Разработка и оформление технологических карт на комплексные медицинские услуги совместно с ДЗМ</vt:lpstr>
      <vt:lpstr>Вебинары:</vt:lpstr>
      <vt:lpstr>Проекты:</vt:lpstr>
      <vt:lpstr>Презентация PowerPoint</vt:lpstr>
      <vt:lpstr> Интернет и теле -Коммуникации</vt:lpstr>
      <vt:lpstr>Урология в период пандемии COVID-19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ЕПАРТАМЕНТ ЗДРАВООХРАНЕНИЯ ГОРОДА МОСКВЫ</dc:title>
  <dc:creator>Lubov Khodyreva</dc:creator>
  <cp:lastModifiedBy>Khodoriva_LA</cp:lastModifiedBy>
  <cp:revision>167</cp:revision>
  <dcterms:created xsi:type="dcterms:W3CDTF">2020-02-28T22:23:53Z</dcterms:created>
  <dcterms:modified xsi:type="dcterms:W3CDTF">2020-10-22T13:33:30Z</dcterms:modified>
</cp:coreProperties>
</file>